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7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9002D2-35CD-DFA2-4DA7-E23D50732F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0D0DB2-7C52-6171-820A-DB051EAD54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2850FF7-19BC-6580-A910-590331FA2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ors</a:t>
            </a:r>
          </a:p>
        </p:txBody>
      </p:sp>
      <p:pic>
        <p:nvPicPr>
          <p:cNvPr id="12" name="01_Phone White.png">
            <a:extLst>
              <a:ext uri="{FF2B5EF4-FFF2-40B4-BE49-F238E27FC236}">
                <a16:creationId xmlns:a16="http://schemas.microsoft.com/office/drawing/2014/main" id="{B0E74B5F-34FD-4712-02ED-FF970724A667}"/>
              </a:ext>
            </a:extLst>
          </p:cNvPr>
          <p:cNvPicPr/>
          <p:nvPr/>
        </p:nvPicPr>
        <p:blipFill rotWithShape="1"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 b="6702"/>
          <a:stretch/>
        </p:blipFill>
        <p:spPr>
          <a:xfrm flipH="1">
            <a:off x="-134910" y="1316621"/>
            <a:ext cx="3120106" cy="510871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49463799-5139-206A-5E83-E015E38E7087}"/>
              </a:ext>
            </a:extLst>
          </p:cNvPr>
          <p:cNvSpPr>
            <a:spLocks/>
          </p:cNvSpPr>
          <p:nvPr/>
        </p:nvSpPr>
        <p:spPr>
          <a:xfrm flipH="1">
            <a:off x="413053" y="1887555"/>
            <a:ext cx="2077527" cy="924955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37" dirty="0" err="1">
              <a:solidFill>
                <a:schemeClr val="tx1"/>
              </a:solidFill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06604770-9896-116D-F5A7-61F9AF0C8B73}"/>
              </a:ext>
            </a:extLst>
          </p:cNvPr>
          <p:cNvSpPr>
            <a:spLocks/>
          </p:cNvSpPr>
          <p:nvPr/>
        </p:nvSpPr>
        <p:spPr>
          <a:xfrm flipH="1">
            <a:off x="413053" y="2814420"/>
            <a:ext cx="2077527" cy="924955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37" dirty="0" err="1">
              <a:solidFill>
                <a:schemeClr val="tx1"/>
              </a:solidFill>
            </a:endParaRPr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AE233FD3-2255-AB0D-6220-47967487F87B}"/>
              </a:ext>
            </a:extLst>
          </p:cNvPr>
          <p:cNvSpPr>
            <a:spLocks/>
          </p:cNvSpPr>
          <p:nvPr/>
        </p:nvSpPr>
        <p:spPr>
          <a:xfrm flipH="1">
            <a:off x="413053" y="3741287"/>
            <a:ext cx="2077527" cy="924955"/>
          </a:xfrm>
          <a:prstGeom prst="homePlate">
            <a:avLst>
              <a:gd name="adj" fmla="val 0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37" dirty="0" err="1">
              <a:solidFill>
                <a:schemeClr val="tx1"/>
              </a:solidFill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0F61850D-07D1-327C-B121-6CC8ADDED6B9}"/>
              </a:ext>
            </a:extLst>
          </p:cNvPr>
          <p:cNvSpPr>
            <a:spLocks/>
          </p:cNvSpPr>
          <p:nvPr/>
        </p:nvSpPr>
        <p:spPr>
          <a:xfrm flipH="1">
            <a:off x="413053" y="4658218"/>
            <a:ext cx="2077527" cy="924955"/>
          </a:xfrm>
          <a:prstGeom prst="homePlate">
            <a:avLst>
              <a:gd name="adj" fmla="val 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37" dirty="0" err="1">
              <a:solidFill>
                <a:schemeClr val="tx1"/>
              </a:solidFill>
            </a:endParaRP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AF38CCC5-6B40-D376-070B-1EF5577A75B3}"/>
              </a:ext>
            </a:extLst>
          </p:cNvPr>
          <p:cNvSpPr>
            <a:spLocks/>
          </p:cNvSpPr>
          <p:nvPr/>
        </p:nvSpPr>
        <p:spPr>
          <a:xfrm flipH="1">
            <a:off x="2660911" y="1887555"/>
            <a:ext cx="5336331" cy="924955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8EBCC7DE-FA76-D0F4-DB83-8C579E421AFE}"/>
              </a:ext>
            </a:extLst>
          </p:cNvPr>
          <p:cNvSpPr>
            <a:spLocks/>
          </p:cNvSpPr>
          <p:nvPr/>
        </p:nvSpPr>
        <p:spPr>
          <a:xfrm flipH="1">
            <a:off x="2660912" y="2814420"/>
            <a:ext cx="6760422" cy="924955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19" name="Arrow: Pentagon 18">
            <a:extLst>
              <a:ext uri="{FF2B5EF4-FFF2-40B4-BE49-F238E27FC236}">
                <a16:creationId xmlns:a16="http://schemas.microsoft.com/office/drawing/2014/main" id="{D2E5B33B-A43F-8D75-96D5-F5EB2C645877}"/>
              </a:ext>
            </a:extLst>
          </p:cNvPr>
          <p:cNvSpPr>
            <a:spLocks/>
          </p:cNvSpPr>
          <p:nvPr/>
        </p:nvSpPr>
        <p:spPr>
          <a:xfrm flipH="1">
            <a:off x="2660912" y="3741287"/>
            <a:ext cx="8227312" cy="924955"/>
          </a:xfrm>
          <a:prstGeom prst="homePlate">
            <a:avLst>
              <a:gd name="adj" fmla="val 0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3C839C56-46B1-D4B8-0FDB-D855521F373A}"/>
              </a:ext>
            </a:extLst>
          </p:cNvPr>
          <p:cNvSpPr>
            <a:spLocks/>
          </p:cNvSpPr>
          <p:nvPr/>
        </p:nvSpPr>
        <p:spPr>
          <a:xfrm flipH="1">
            <a:off x="2660912" y="4658218"/>
            <a:ext cx="9531088" cy="924955"/>
          </a:xfrm>
          <a:prstGeom prst="homePlate">
            <a:avLst>
              <a:gd name="adj" fmla="val 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AC83C84-A8B0-94F3-297C-36C218C25649}"/>
              </a:ext>
            </a:extLst>
          </p:cNvPr>
          <p:cNvGrpSpPr/>
          <p:nvPr/>
        </p:nvGrpSpPr>
        <p:grpSpPr>
          <a:xfrm flipH="1">
            <a:off x="-541" y="1887556"/>
            <a:ext cx="263262" cy="1133791"/>
            <a:chOff x="8710613" y="4418391"/>
            <a:chExt cx="252411" cy="1087061"/>
          </a:xfrm>
          <a:solidFill>
            <a:schemeClr val="accent1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812042A-B268-CC17-78A4-F68018161040}"/>
                </a:ext>
              </a:extLst>
            </p:cNvPr>
            <p:cNvSpPr/>
            <p:nvPr/>
          </p:nvSpPr>
          <p:spPr>
            <a:xfrm>
              <a:off x="8710613" y="5210177"/>
              <a:ext cx="252411" cy="295275"/>
            </a:xfrm>
            <a:custGeom>
              <a:avLst/>
              <a:gdLst>
                <a:gd name="connsiteX0" fmla="*/ 9525 w 250031"/>
                <a:gd name="connsiteY0" fmla="*/ 85725 h 238125"/>
                <a:gd name="connsiteX1" fmla="*/ 250031 w 250031"/>
                <a:gd name="connsiteY1" fmla="*/ 238125 h 238125"/>
                <a:gd name="connsiteX2" fmla="*/ 250031 w 250031"/>
                <a:gd name="connsiteY2" fmla="*/ 0 h 238125"/>
                <a:gd name="connsiteX3" fmla="*/ 0 w 250031"/>
                <a:gd name="connsiteY3" fmla="*/ 9525 h 238125"/>
                <a:gd name="connsiteX4" fmla="*/ 9525 w 250031"/>
                <a:gd name="connsiteY4" fmla="*/ 85725 h 238125"/>
                <a:gd name="connsiteX0" fmla="*/ 9525 w 250031"/>
                <a:gd name="connsiteY0" fmla="*/ 8572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85725 h 266700"/>
                <a:gd name="connsiteX0" fmla="*/ 9525 w 250031"/>
                <a:gd name="connsiteY0" fmla="*/ 10477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104775 h 266700"/>
                <a:gd name="connsiteX0" fmla="*/ 9525 w 250031"/>
                <a:gd name="connsiteY0" fmla="*/ 10477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104775 h 266700"/>
                <a:gd name="connsiteX0" fmla="*/ 9525 w 250031"/>
                <a:gd name="connsiteY0" fmla="*/ 10477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104775 h 266700"/>
                <a:gd name="connsiteX0" fmla="*/ 0 w 250031"/>
                <a:gd name="connsiteY0" fmla="*/ 111918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0 w 250031"/>
                <a:gd name="connsiteY4" fmla="*/ 111918 h 266700"/>
                <a:gd name="connsiteX0" fmla="*/ 0 w 252411"/>
                <a:gd name="connsiteY0" fmla="*/ 111918 h 295275"/>
                <a:gd name="connsiteX1" fmla="*/ 252411 w 252411"/>
                <a:gd name="connsiteY1" fmla="*/ 295275 h 295275"/>
                <a:gd name="connsiteX2" fmla="*/ 250031 w 252411"/>
                <a:gd name="connsiteY2" fmla="*/ 0 h 295275"/>
                <a:gd name="connsiteX3" fmla="*/ 0 w 252411"/>
                <a:gd name="connsiteY3" fmla="*/ 9525 h 295275"/>
                <a:gd name="connsiteX4" fmla="*/ 0 w 252411"/>
                <a:gd name="connsiteY4" fmla="*/ 11191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411" h="295275">
                  <a:moveTo>
                    <a:pt x="0" y="111918"/>
                  </a:moveTo>
                  <a:lnTo>
                    <a:pt x="252411" y="295275"/>
                  </a:lnTo>
                  <a:cubicBezTo>
                    <a:pt x="251618" y="196850"/>
                    <a:pt x="250824" y="98425"/>
                    <a:pt x="250031" y="0"/>
                  </a:cubicBezTo>
                  <a:lnTo>
                    <a:pt x="0" y="9525"/>
                  </a:lnTo>
                  <a:lnTo>
                    <a:pt x="0" y="111918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37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58565A7-DC8D-C9C7-F8D5-9E67459B0A4E}"/>
                </a:ext>
              </a:extLst>
            </p:cNvPr>
            <p:cNvSpPr>
              <a:spLocks/>
            </p:cNvSpPr>
            <p:nvPr/>
          </p:nvSpPr>
          <p:spPr>
            <a:xfrm>
              <a:off x="8718306" y="4418391"/>
              <a:ext cx="243132" cy="803690"/>
            </a:xfrm>
            <a:custGeom>
              <a:avLst/>
              <a:gdLst>
                <a:gd name="connsiteX0" fmla="*/ 0 w 243132"/>
                <a:gd name="connsiteY0" fmla="*/ 0 h 884334"/>
                <a:gd name="connsiteX1" fmla="*/ 29214 w 243132"/>
                <a:gd name="connsiteY1" fmla="*/ 2945 h 884334"/>
                <a:gd name="connsiteX2" fmla="*/ 243132 w 243132"/>
                <a:gd name="connsiteY2" fmla="*/ 265414 h 884334"/>
                <a:gd name="connsiteX3" fmla="*/ 243132 w 243132"/>
                <a:gd name="connsiteY3" fmla="*/ 306009 h 884334"/>
                <a:gd name="connsiteX4" fmla="*/ 243132 w 243132"/>
                <a:gd name="connsiteY4" fmla="*/ 440918 h 884334"/>
                <a:gd name="connsiteX5" fmla="*/ 243132 w 243132"/>
                <a:gd name="connsiteY5" fmla="*/ 616422 h 884334"/>
                <a:gd name="connsiteX6" fmla="*/ 243132 w 243132"/>
                <a:gd name="connsiteY6" fmla="*/ 884334 h 884334"/>
                <a:gd name="connsiteX7" fmla="*/ 0 w 243132"/>
                <a:gd name="connsiteY7" fmla="*/ 884334 h 88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132" h="884334">
                  <a:moveTo>
                    <a:pt x="0" y="0"/>
                  </a:moveTo>
                  <a:lnTo>
                    <a:pt x="29214" y="2945"/>
                  </a:lnTo>
                  <a:cubicBezTo>
                    <a:pt x="151297" y="27927"/>
                    <a:pt x="243132" y="135946"/>
                    <a:pt x="243132" y="265414"/>
                  </a:cubicBezTo>
                  <a:lnTo>
                    <a:pt x="243132" y="306009"/>
                  </a:lnTo>
                  <a:lnTo>
                    <a:pt x="243132" y="440918"/>
                  </a:lnTo>
                  <a:lnTo>
                    <a:pt x="243132" y="616422"/>
                  </a:lnTo>
                  <a:lnTo>
                    <a:pt x="243132" y="884334"/>
                  </a:lnTo>
                  <a:lnTo>
                    <a:pt x="0" y="88433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37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217B21B-2D90-15E4-8E6E-7FF1C177693D}"/>
              </a:ext>
            </a:extLst>
          </p:cNvPr>
          <p:cNvGrpSpPr/>
          <p:nvPr/>
        </p:nvGrpSpPr>
        <p:grpSpPr>
          <a:xfrm flipH="1">
            <a:off x="-541" y="2814421"/>
            <a:ext cx="263262" cy="1133791"/>
            <a:chOff x="8710613" y="4418391"/>
            <a:chExt cx="252411" cy="1087061"/>
          </a:xfrm>
          <a:solidFill>
            <a:schemeClr val="accent2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3EC2030-5512-3ADD-666D-D93E6E133F2C}"/>
                </a:ext>
              </a:extLst>
            </p:cNvPr>
            <p:cNvSpPr/>
            <p:nvPr/>
          </p:nvSpPr>
          <p:spPr>
            <a:xfrm>
              <a:off x="8710613" y="5210177"/>
              <a:ext cx="252411" cy="295275"/>
            </a:xfrm>
            <a:custGeom>
              <a:avLst/>
              <a:gdLst>
                <a:gd name="connsiteX0" fmla="*/ 9525 w 250031"/>
                <a:gd name="connsiteY0" fmla="*/ 85725 h 238125"/>
                <a:gd name="connsiteX1" fmla="*/ 250031 w 250031"/>
                <a:gd name="connsiteY1" fmla="*/ 238125 h 238125"/>
                <a:gd name="connsiteX2" fmla="*/ 250031 w 250031"/>
                <a:gd name="connsiteY2" fmla="*/ 0 h 238125"/>
                <a:gd name="connsiteX3" fmla="*/ 0 w 250031"/>
                <a:gd name="connsiteY3" fmla="*/ 9525 h 238125"/>
                <a:gd name="connsiteX4" fmla="*/ 9525 w 250031"/>
                <a:gd name="connsiteY4" fmla="*/ 85725 h 238125"/>
                <a:gd name="connsiteX0" fmla="*/ 9525 w 250031"/>
                <a:gd name="connsiteY0" fmla="*/ 8572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85725 h 266700"/>
                <a:gd name="connsiteX0" fmla="*/ 9525 w 250031"/>
                <a:gd name="connsiteY0" fmla="*/ 10477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104775 h 266700"/>
                <a:gd name="connsiteX0" fmla="*/ 9525 w 250031"/>
                <a:gd name="connsiteY0" fmla="*/ 10477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104775 h 266700"/>
                <a:gd name="connsiteX0" fmla="*/ 9525 w 250031"/>
                <a:gd name="connsiteY0" fmla="*/ 10477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104775 h 266700"/>
                <a:gd name="connsiteX0" fmla="*/ 0 w 250031"/>
                <a:gd name="connsiteY0" fmla="*/ 111918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0 w 250031"/>
                <a:gd name="connsiteY4" fmla="*/ 111918 h 266700"/>
                <a:gd name="connsiteX0" fmla="*/ 0 w 252411"/>
                <a:gd name="connsiteY0" fmla="*/ 111918 h 295275"/>
                <a:gd name="connsiteX1" fmla="*/ 252411 w 252411"/>
                <a:gd name="connsiteY1" fmla="*/ 295275 h 295275"/>
                <a:gd name="connsiteX2" fmla="*/ 250031 w 252411"/>
                <a:gd name="connsiteY2" fmla="*/ 0 h 295275"/>
                <a:gd name="connsiteX3" fmla="*/ 0 w 252411"/>
                <a:gd name="connsiteY3" fmla="*/ 9525 h 295275"/>
                <a:gd name="connsiteX4" fmla="*/ 0 w 252411"/>
                <a:gd name="connsiteY4" fmla="*/ 11191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411" h="295275">
                  <a:moveTo>
                    <a:pt x="0" y="111918"/>
                  </a:moveTo>
                  <a:lnTo>
                    <a:pt x="252411" y="295275"/>
                  </a:lnTo>
                  <a:cubicBezTo>
                    <a:pt x="251618" y="196850"/>
                    <a:pt x="250824" y="98425"/>
                    <a:pt x="250031" y="0"/>
                  </a:cubicBezTo>
                  <a:lnTo>
                    <a:pt x="0" y="9525"/>
                  </a:lnTo>
                  <a:lnTo>
                    <a:pt x="0" y="111918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37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ABD388A-8C29-0FAA-1AB2-63429785D2BF}"/>
                </a:ext>
              </a:extLst>
            </p:cNvPr>
            <p:cNvSpPr>
              <a:spLocks/>
            </p:cNvSpPr>
            <p:nvPr/>
          </p:nvSpPr>
          <p:spPr>
            <a:xfrm>
              <a:off x="8718306" y="4418391"/>
              <a:ext cx="243132" cy="803690"/>
            </a:xfrm>
            <a:custGeom>
              <a:avLst/>
              <a:gdLst>
                <a:gd name="connsiteX0" fmla="*/ 0 w 243132"/>
                <a:gd name="connsiteY0" fmla="*/ 0 h 884334"/>
                <a:gd name="connsiteX1" fmla="*/ 29214 w 243132"/>
                <a:gd name="connsiteY1" fmla="*/ 2945 h 884334"/>
                <a:gd name="connsiteX2" fmla="*/ 243132 w 243132"/>
                <a:gd name="connsiteY2" fmla="*/ 265414 h 884334"/>
                <a:gd name="connsiteX3" fmla="*/ 243132 w 243132"/>
                <a:gd name="connsiteY3" fmla="*/ 306009 h 884334"/>
                <a:gd name="connsiteX4" fmla="*/ 243132 w 243132"/>
                <a:gd name="connsiteY4" fmla="*/ 440918 h 884334"/>
                <a:gd name="connsiteX5" fmla="*/ 243132 w 243132"/>
                <a:gd name="connsiteY5" fmla="*/ 616422 h 884334"/>
                <a:gd name="connsiteX6" fmla="*/ 243132 w 243132"/>
                <a:gd name="connsiteY6" fmla="*/ 884334 h 884334"/>
                <a:gd name="connsiteX7" fmla="*/ 0 w 243132"/>
                <a:gd name="connsiteY7" fmla="*/ 884334 h 88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132" h="884334">
                  <a:moveTo>
                    <a:pt x="0" y="0"/>
                  </a:moveTo>
                  <a:lnTo>
                    <a:pt x="29214" y="2945"/>
                  </a:lnTo>
                  <a:cubicBezTo>
                    <a:pt x="151297" y="27927"/>
                    <a:pt x="243132" y="135946"/>
                    <a:pt x="243132" y="265414"/>
                  </a:cubicBezTo>
                  <a:lnTo>
                    <a:pt x="243132" y="306009"/>
                  </a:lnTo>
                  <a:lnTo>
                    <a:pt x="243132" y="440918"/>
                  </a:lnTo>
                  <a:lnTo>
                    <a:pt x="243132" y="616422"/>
                  </a:lnTo>
                  <a:lnTo>
                    <a:pt x="243132" y="884334"/>
                  </a:lnTo>
                  <a:lnTo>
                    <a:pt x="0" y="88433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37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5D091EB-23E7-6AD9-481D-960A8B87873A}"/>
              </a:ext>
            </a:extLst>
          </p:cNvPr>
          <p:cNvGrpSpPr/>
          <p:nvPr/>
        </p:nvGrpSpPr>
        <p:grpSpPr>
          <a:xfrm flipH="1">
            <a:off x="-541" y="3741288"/>
            <a:ext cx="263262" cy="1133791"/>
            <a:chOff x="8710613" y="4418391"/>
            <a:chExt cx="252411" cy="1087061"/>
          </a:xfrm>
          <a:solidFill>
            <a:schemeClr val="accent4"/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D5F0281-420E-5B26-B88D-D7BF2B4A4D55}"/>
                </a:ext>
              </a:extLst>
            </p:cNvPr>
            <p:cNvSpPr/>
            <p:nvPr/>
          </p:nvSpPr>
          <p:spPr>
            <a:xfrm>
              <a:off x="8710613" y="5210177"/>
              <a:ext cx="252411" cy="295275"/>
            </a:xfrm>
            <a:custGeom>
              <a:avLst/>
              <a:gdLst>
                <a:gd name="connsiteX0" fmla="*/ 9525 w 250031"/>
                <a:gd name="connsiteY0" fmla="*/ 85725 h 238125"/>
                <a:gd name="connsiteX1" fmla="*/ 250031 w 250031"/>
                <a:gd name="connsiteY1" fmla="*/ 238125 h 238125"/>
                <a:gd name="connsiteX2" fmla="*/ 250031 w 250031"/>
                <a:gd name="connsiteY2" fmla="*/ 0 h 238125"/>
                <a:gd name="connsiteX3" fmla="*/ 0 w 250031"/>
                <a:gd name="connsiteY3" fmla="*/ 9525 h 238125"/>
                <a:gd name="connsiteX4" fmla="*/ 9525 w 250031"/>
                <a:gd name="connsiteY4" fmla="*/ 85725 h 238125"/>
                <a:gd name="connsiteX0" fmla="*/ 9525 w 250031"/>
                <a:gd name="connsiteY0" fmla="*/ 8572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85725 h 266700"/>
                <a:gd name="connsiteX0" fmla="*/ 9525 w 250031"/>
                <a:gd name="connsiteY0" fmla="*/ 10477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104775 h 266700"/>
                <a:gd name="connsiteX0" fmla="*/ 9525 w 250031"/>
                <a:gd name="connsiteY0" fmla="*/ 10477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104775 h 266700"/>
                <a:gd name="connsiteX0" fmla="*/ 9525 w 250031"/>
                <a:gd name="connsiteY0" fmla="*/ 10477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104775 h 266700"/>
                <a:gd name="connsiteX0" fmla="*/ 0 w 250031"/>
                <a:gd name="connsiteY0" fmla="*/ 111918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0 w 250031"/>
                <a:gd name="connsiteY4" fmla="*/ 111918 h 266700"/>
                <a:gd name="connsiteX0" fmla="*/ 0 w 252411"/>
                <a:gd name="connsiteY0" fmla="*/ 111918 h 295275"/>
                <a:gd name="connsiteX1" fmla="*/ 252411 w 252411"/>
                <a:gd name="connsiteY1" fmla="*/ 295275 h 295275"/>
                <a:gd name="connsiteX2" fmla="*/ 250031 w 252411"/>
                <a:gd name="connsiteY2" fmla="*/ 0 h 295275"/>
                <a:gd name="connsiteX3" fmla="*/ 0 w 252411"/>
                <a:gd name="connsiteY3" fmla="*/ 9525 h 295275"/>
                <a:gd name="connsiteX4" fmla="*/ 0 w 252411"/>
                <a:gd name="connsiteY4" fmla="*/ 11191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411" h="295275">
                  <a:moveTo>
                    <a:pt x="0" y="111918"/>
                  </a:moveTo>
                  <a:lnTo>
                    <a:pt x="252411" y="295275"/>
                  </a:lnTo>
                  <a:cubicBezTo>
                    <a:pt x="251618" y="196850"/>
                    <a:pt x="250824" y="98425"/>
                    <a:pt x="250031" y="0"/>
                  </a:cubicBezTo>
                  <a:lnTo>
                    <a:pt x="0" y="9525"/>
                  </a:lnTo>
                  <a:lnTo>
                    <a:pt x="0" y="111918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37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E01CC36-74D5-FD95-5A0F-B138615CA07A}"/>
                </a:ext>
              </a:extLst>
            </p:cNvPr>
            <p:cNvSpPr>
              <a:spLocks/>
            </p:cNvSpPr>
            <p:nvPr/>
          </p:nvSpPr>
          <p:spPr>
            <a:xfrm>
              <a:off x="8718306" y="4418391"/>
              <a:ext cx="243132" cy="803690"/>
            </a:xfrm>
            <a:custGeom>
              <a:avLst/>
              <a:gdLst>
                <a:gd name="connsiteX0" fmla="*/ 0 w 243132"/>
                <a:gd name="connsiteY0" fmla="*/ 0 h 884334"/>
                <a:gd name="connsiteX1" fmla="*/ 29214 w 243132"/>
                <a:gd name="connsiteY1" fmla="*/ 2945 h 884334"/>
                <a:gd name="connsiteX2" fmla="*/ 243132 w 243132"/>
                <a:gd name="connsiteY2" fmla="*/ 265414 h 884334"/>
                <a:gd name="connsiteX3" fmla="*/ 243132 w 243132"/>
                <a:gd name="connsiteY3" fmla="*/ 306009 h 884334"/>
                <a:gd name="connsiteX4" fmla="*/ 243132 w 243132"/>
                <a:gd name="connsiteY4" fmla="*/ 440918 h 884334"/>
                <a:gd name="connsiteX5" fmla="*/ 243132 w 243132"/>
                <a:gd name="connsiteY5" fmla="*/ 616422 h 884334"/>
                <a:gd name="connsiteX6" fmla="*/ 243132 w 243132"/>
                <a:gd name="connsiteY6" fmla="*/ 884334 h 884334"/>
                <a:gd name="connsiteX7" fmla="*/ 0 w 243132"/>
                <a:gd name="connsiteY7" fmla="*/ 884334 h 88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132" h="884334">
                  <a:moveTo>
                    <a:pt x="0" y="0"/>
                  </a:moveTo>
                  <a:lnTo>
                    <a:pt x="29214" y="2945"/>
                  </a:lnTo>
                  <a:cubicBezTo>
                    <a:pt x="151297" y="27927"/>
                    <a:pt x="243132" y="135946"/>
                    <a:pt x="243132" y="265414"/>
                  </a:cubicBezTo>
                  <a:lnTo>
                    <a:pt x="243132" y="306009"/>
                  </a:lnTo>
                  <a:lnTo>
                    <a:pt x="243132" y="440918"/>
                  </a:lnTo>
                  <a:lnTo>
                    <a:pt x="243132" y="616422"/>
                  </a:lnTo>
                  <a:lnTo>
                    <a:pt x="243132" y="884334"/>
                  </a:lnTo>
                  <a:lnTo>
                    <a:pt x="0" y="88433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37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3A1C9D8-5D63-78B0-FE21-71DBE728240D}"/>
              </a:ext>
            </a:extLst>
          </p:cNvPr>
          <p:cNvGrpSpPr/>
          <p:nvPr/>
        </p:nvGrpSpPr>
        <p:grpSpPr>
          <a:xfrm flipH="1">
            <a:off x="-541" y="4670759"/>
            <a:ext cx="263262" cy="1133791"/>
            <a:chOff x="8710613" y="4418391"/>
            <a:chExt cx="252411" cy="1087061"/>
          </a:xfrm>
          <a:solidFill>
            <a:schemeClr val="accent5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0C4DC3F-1C73-CE9F-3B97-216152AA6C5C}"/>
                </a:ext>
              </a:extLst>
            </p:cNvPr>
            <p:cNvSpPr/>
            <p:nvPr/>
          </p:nvSpPr>
          <p:spPr>
            <a:xfrm>
              <a:off x="8710613" y="5210177"/>
              <a:ext cx="252411" cy="295275"/>
            </a:xfrm>
            <a:custGeom>
              <a:avLst/>
              <a:gdLst>
                <a:gd name="connsiteX0" fmla="*/ 9525 w 250031"/>
                <a:gd name="connsiteY0" fmla="*/ 85725 h 238125"/>
                <a:gd name="connsiteX1" fmla="*/ 250031 w 250031"/>
                <a:gd name="connsiteY1" fmla="*/ 238125 h 238125"/>
                <a:gd name="connsiteX2" fmla="*/ 250031 w 250031"/>
                <a:gd name="connsiteY2" fmla="*/ 0 h 238125"/>
                <a:gd name="connsiteX3" fmla="*/ 0 w 250031"/>
                <a:gd name="connsiteY3" fmla="*/ 9525 h 238125"/>
                <a:gd name="connsiteX4" fmla="*/ 9525 w 250031"/>
                <a:gd name="connsiteY4" fmla="*/ 85725 h 238125"/>
                <a:gd name="connsiteX0" fmla="*/ 9525 w 250031"/>
                <a:gd name="connsiteY0" fmla="*/ 8572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85725 h 266700"/>
                <a:gd name="connsiteX0" fmla="*/ 9525 w 250031"/>
                <a:gd name="connsiteY0" fmla="*/ 10477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104775 h 266700"/>
                <a:gd name="connsiteX0" fmla="*/ 9525 w 250031"/>
                <a:gd name="connsiteY0" fmla="*/ 10477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104775 h 266700"/>
                <a:gd name="connsiteX0" fmla="*/ 9525 w 250031"/>
                <a:gd name="connsiteY0" fmla="*/ 104775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9525 w 250031"/>
                <a:gd name="connsiteY4" fmla="*/ 104775 h 266700"/>
                <a:gd name="connsiteX0" fmla="*/ 0 w 250031"/>
                <a:gd name="connsiteY0" fmla="*/ 111918 h 266700"/>
                <a:gd name="connsiteX1" fmla="*/ 247649 w 250031"/>
                <a:gd name="connsiteY1" fmla="*/ 266700 h 266700"/>
                <a:gd name="connsiteX2" fmla="*/ 250031 w 250031"/>
                <a:gd name="connsiteY2" fmla="*/ 0 h 266700"/>
                <a:gd name="connsiteX3" fmla="*/ 0 w 250031"/>
                <a:gd name="connsiteY3" fmla="*/ 9525 h 266700"/>
                <a:gd name="connsiteX4" fmla="*/ 0 w 250031"/>
                <a:gd name="connsiteY4" fmla="*/ 111918 h 266700"/>
                <a:gd name="connsiteX0" fmla="*/ 0 w 252411"/>
                <a:gd name="connsiteY0" fmla="*/ 111918 h 295275"/>
                <a:gd name="connsiteX1" fmla="*/ 252411 w 252411"/>
                <a:gd name="connsiteY1" fmla="*/ 295275 h 295275"/>
                <a:gd name="connsiteX2" fmla="*/ 250031 w 252411"/>
                <a:gd name="connsiteY2" fmla="*/ 0 h 295275"/>
                <a:gd name="connsiteX3" fmla="*/ 0 w 252411"/>
                <a:gd name="connsiteY3" fmla="*/ 9525 h 295275"/>
                <a:gd name="connsiteX4" fmla="*/ 0 w 252411"/>
                <a:gd name="connsiteY4" fmla="*/ 11191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411" h="295275">
                  <a:moveTo>
                    <a:pt x="0" y="111918"/>
                  </a:moveTo>
                  <a:lnTo>
                    <a:pt x="252411" y="295275"/>
                  </a:lnTo>
                  <a:cubicBezTo>
                    <a:pt x="251618" y="196850"/>
                    <a:pt x="250824" y="98425"/>
                    <a:pt x="250031" y="0"/>
                  </a:cubicBezTo>
                  <a:lnTo>
                    <a:pt x="0" y="9525"/>
                  </a:lnTo>
                  <a:lnTo>
                    <a:pt x="0" y="111918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37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C6C144E-48F6-A5CE-762D-806BF2C19BA7}"/>
                </a:ext>
              </a:extLst>
            </p:cNvPr>
            <p:cNvSpPr>
              <a:spLocks/>
            </p:cNvSpPr>
            <p:nvPr/>
          </p:nvSpPr>
          <p:spPr>
            <a:xfrm>
              <a:off x="8718306" y="4418391"/>
              <a:ext cx="243132" cy="803690"/>
            </a:xfrm>
            <a:custGeom>
              <a:avLst/>
              <a:gdLst>
                <a:gd name="connsiteX0" fmla="*/ 0 w 243132"/>
                <a:gd name="connsiteY0" fmla="*/ 0 h 884334"/>
                <a:gd name="connsiteX1" fmla="*/ 29214 w 243132"/>
                <a:gd name="connsiteY1" fmla="*/ 2945 h 884334"/>
                <a:gd name="connsiteX2" fmla="*/ 243132 w 243132"/>
                <a:gd name="connsiteY2" fmla="*/ 265414 h 884334"/>
                <a:gd name="connsiteX3" fmla="*/ 243132 w 243132"/>
                <a:gd name="connsiteY3" fmla="*/ 306009 h 884334"/>
                <a:gd name="connsiteX4" fmla="*/ 243132 w 243132"/>
                <a:gd name="connsiteY4" fmla="*/ 440918 h 884334"/>
                <a:gd name="connsiteX5" fmla="*/ 243132 w 243132"/>
                <a:gd name="connsiteY5" fmla="*/ 616422 h 884334"/>
                <a:gd name="connsiteX6" fmla="*/ 243132 w 243132"/>
                <a:gd name="connsiteY6" fmla="*/ 884334 h 884334"/>
                <a:gd name="connsiteX7" fmla="*/ 0 w 243132"/>
                <a:gd name="connsiteY7" fmla="*/ 884334 h 88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132" h="884334">
                  <a:moveTo>
                    <a:pt x="0" y="0"/>
                  </a:moveTo>
                  <a:lnTo>
                    <a:pt x="29214" y="2945"/>
                  </a:lnTo>
                  <a:cubicBezTo>
                    <a:pt x="151297" y="27927"/>
                    <a:pt x="243132" y="135946"/>
                    <a:pt x="243132" y="265414"/>
                  </a:cubicBezTo>
                  <a:lnTo>
                    <a:pt x="243132" y="306009"/>
                  </a:lnTo>
                  <a:lnTo>
                    <a:pt x="243132" y="440918"/>
                  </a:lnTo>
                  <a:lnTo>
                    <a:pt x="243132" y="616422"/>
                  </a:lnTo>
                  <a:lnTo>
                    <a:pt x="243132" y="884334"/>
                  </a:lnTo>
                  <a:lnTo>
                    <a:pt x="0" y="88433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37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3" name="Shape 77">
            <a:extLst>
              <a:ext uri="{FF2B5EF4-FFF2-40B4-BE49-F238E27FC236}">
                <a16:creationId xmlns:a16="http://schemas.microsoft.com/office/drawing/2014/main" id="{59BD681B-7C09-0F73-F44B-BAEB3B2A9AAA}"/>
              </a:ext>
            </a:extLst>
          </p:cNvPr>
          <p:cNvSpPr>
            <a:spLocks/>
          </p:cNvSpPr>
          <p:nvPr/>
        </p:nvSpPr>
        <p:spPr>
          <a:xfrm flipH="1">
            <a:off x="2854060" y="2042256"/>
            <a:ext cx="4896568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spAutoFit/>
          </a:bodyPr>
          <a:lstStyle/>
          <a:p>
            <a:pPr>
              <a:buClr>
                <a:srgbClr val="000000"/>
              </a:buClr>
              <a:buSzPct val="25000"/>
            </a:pPr>
            <a:r>
              <a:rPr lang="en-US" sz="2000" b="1" kern="0" dirty="0">
                <a:solidFill>
                  <a:schemeClr val="bg1"/>
                </a:solidFill>
                <a:ea typeface="Calibri"/>
                <a:cs typeface="Times New Roman" panose="02020603050405020304" pitchFamily="18" charset="0"/>
                <a:sym typeface="Calibri"/>
              </a:rPr>
              <a:t>Title</a:t>
            </a:r>
          </a:p>
          <a:p>
            <a:pPr>
              <a:buClr>
                <a:srgbClr val="000000"/>
              </a:buClr>
              <a:buSzPct val="25000"/>
            </a:pPr>
            <a:r>
              <a:rPr lang="en-US" sz="2000" kern="0" dirty="0">
                <a:solidFill>
                  <a:schemeClr val="bg1"/>
                </a:solidFill>
                <a:ea typeface="Calibri"/>
                <a:cs typeface="Times New Roman" panose="02020603050405020304" pitchFamily="18" charset="0"/>
                <a:sym typeface="Calibri"/>
              </a:rPr>
              <a:t>Insert Text Here</a:t>
            </a:r>
          </a:p>
        </p:txBody>
      </p:sp>
      <p:sp>
        <p:nvSpPr>
          <p:cNvPr id="34" name="Shape 77">
            <a:extLst>
              <a:ext uri="{FF2B5EF4-FFF2-40B4-BE49-F238E27FC236}">
                <a16:creationId xmlns:a16="http://schemas.microsoft.com/office/drawing/2014/main" id="{77F2392A-1BFF-90D3-A2AA-4CFE4E8F682C}"/>
              </a:ext>
            </a:extLst>
          </p:cNvPr>
          <p:cNvSpPr>
            <a:spLocks/>
          </p:cNvSpPr>
          <p:nvPr/>
        </p:nvSpPr>
        <p:spPr>
          <a:xfrm flipH="1">
            <a:off x="2854060" y="2969121"/>
            <a:ext cx="6230946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spAutoFit/>
          </a:bodyPr>
          <a:lstStyle/>
          <a:p>
            <a:pPr>
              <a:buClr>
                <a:srgbClr val="000000"/>
              </a:buClr>
              <a:buSzPct val="25000"/>
            </a:pPr>
            <a:r>
              <a:rPr lang="en-US" sz="2000" b="1" kern="0" dirty="0">
                <a:solidFill>
                  <a:schemeClr val="bg1"/>
                </a:solidFill>
                <a:ea typeface="Calibri"/>
                <a:cs typeface="Times New Roman" panose="02020603050405020304" pitchFamily="18" charset="0"/>
                <a:sym typeface="Calibri"/>
              </a:rPr>
              <a:t>Title</a:t>
            </a:r>
          </a:p>
          <a:p>
            <a:pPr>
              <a:buClr>
                <a:srgbClr val="000000"/>
              </a:buClr>
              <a:buSzPct val="25000"/>
            </a:pPr>
            <a:r>
              <a:rPr lang="en-US" sz="2000" kern="0" dirty="0">
                <a:solidFill>
                  <a:schemeClr val="bg1"/>
                </a:solidFill>
                <a:ea typeface="Calibri"/>
                <a:cs typeface="Times New Roman" panose="02020603050405020304" pitchFamily="18" charset="0"/>
                <a:sym typeface="Calibri"/>
              </a:rPr>
              <a:t>Insert Text Here</a:t>
            </a:r>
          </a:p>
        </p:txBody>
      </p:sp>
      <p:sp>
        <p:nvSpPr>
          <p:cNvPr id="35" name="Shape 77">
            <a:extLst>
              <a:ext uri="{FF2B5EF4-FFF2-40B4-BE49-F238E27FC236}">
                <a16:creationId xmlns:a16="http://schemas.microsoft.com/office/drawing/2014/main" id="{2240A894-B085-2400-1EC1-0D9D26BFF070}"/>
              </a:ext>
            </a:extLst>
          </p:cNvPr>
          <p:cNvSpPr>
            <a:spLocks/>
          </p:cNvSpPr>
          <p:nvPr/>
        </p:nvSpPr>
        <p:spPr>
          <a:xfrm flipH="1">
            <a:off x="2854060" y="3895988"/>
            <a:ext cx="7683548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spAutoFit/>
          </a:bodyPr>
          <a:lstStyle/>
          <a:p>
            <a:pPr>
              <a:buClr>
                <a:srgbClr val="000000"/>
              </a:buClr>
              <a:buSzPct val="25000"/>
            </a:pPr>
            <a:r>
              <a:rPr lang="en-US" sz="2000" b="1" kern="0" dirty="0">
                <a:solidFill>
                  <a:schemeClr val="bg1"/>
                </a:solidFill>
                <a:ea typeface="Calibri"/>
                <a:cs typeface="Times New Roman" panose="02020603050405020304" pitchFamily="18" charset="0"/>
                <a:sym typeface="Calibri"/>
              </a:rPr>
              <a:t>Title</a:t>
            </a:r>
          </a:p>
          <a:p>
            <a:pPr>
              <a:buClr>
                <a:srgbClr val="000000"/>
              </a:buClr>
              <a:buSzPct val="25000"/>
            </a:pPr>
            <a:r>
              <a:rPr lang="en-US" sz="2000" kern="0" dirty="0">
                <a:solidFill>
                  <a:schemeClr val="bg1"/>
                </a:solidFill>
                <a:ea typeface="Calibri"/>
                <a:cs typeface="Times New Roman" panose="02020603050405020304" pitchFamily="18" charset="0"/>
                <a:sym typeface="Calibri"/>
              </a:rPr>
              <a:t>Insert Text Here</a:t>
            </a:r>
          </a:p>
        </p:txBody>
      </p:sp>
      <p:sp>
        <p:nvSpPr>
          <p:cNvPr id="36" name="Shape 77">
            <a:extLst>
              <a:ext uri="{FF2B5EF4-FFF2-40B4-BE49-F238E27FC236}">
                <a16:creationId xmlns:a16="http://schemas.microsoft.com/office/drawing/2014/main" id="{1C21B912-47EE-DDD7-5315-B80587783154}"/>
              </a:ext>
            </a:extLst>
          </p:cNvPr>
          <p:cNvSpPr>
            <a:spLocks/>
          </p:cNvSpPr>
          <p:nvPr/>
        </p:nvSpPr>
        <p:spPr>
          <a:xfrm flipH="1">
            <a:off x="2854060" y="4812919"/>
            <a:ext cx="8957712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spAutoFit/>
          </a:bodyPr>
          <a:lstStyle/>
          <a:p>
            <a:pPr>
              <a:buClr>
                <a:srgbClr val="000000"/>
              </a:buClr>
              <a:buSzPct val="25000"/>
            </a:pPr>
            <a:r>
              <a:rPr lang="en-US" sz="2000" b="1" kern="0" dirty="0">
                <a:solidFill>
                  <a:schemeClr val="bg1"/>
                </a:solidFill>
                <a:ea typeface="Calibri"/>
                <a:cs typeface="Times New Roman" panose="02020603050405020304" pitchFamily="18" charset="0"/>
                <a:sym typeface="Calibri"/>
              </a:rPr>
              <a:t>Title</a:t>
            </a:r>
          </a:p>
          <a:p>
            <a:pPr>
              <a:buClr>
                <a:srgbClr val="000000"/>
              </a:buClr>
              <a:buSzPct val="25000"/>
            </a:pPr>
            <a:r>
              <a:rPr lang="en-US" sz="2000" kern="0" dirty="0">
                <a:solidFill>
                  <a:schemeClr val="bg1"/>
                </a:solidFill>
                <a:ea typeface="Calibri"/>
                <a:cs typeface="Times New Roman" panose="02020603050405020304" pitchFamily="18" charset="0"/>
                <a:sym typeface="Calibri"/>
              </a:rPr>
              <a:t>Insert Text Here</a:t>
            </a:r>
          </a:p>
        </p:txBody>
      </p:sp>
      <p:sp>
        <p:nvSpPr>
          <p:cNvPr id="37" name="Shape 77">
            <a:extLst>
              <a:ext uri="{FF2B5EF4-FFF2-40B4-BE49-F238E27FC236}">
                <a16:creationId xmlns:a16="http://schemas.microsoft.com/office/drawing/2014/main" id="{A9C04DDF-17BD-6E9A-3A4E-DAAA56317759}"/>
              </a:ext>
            </a:extLst>
          </p:cNvPr>
          <p:cNvSpPr>
            <a:spLocks/>
          </p:cNvSpPr>
          <p:nvPr/>
        </p:nvSpPr>
        <p:spPr>
          <a:xfrm flipH="1">
            <a:off x="1024378" y="2080728"/>
            <a:ext cx="854876" cy="5386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rgbClr val="000000"/>
              </a:buClr>
              <a:buSzPct val="25000"/>
            </a:pPr>
            <a:r>
              <a:rPr lang="en-US" sz="3500" b="1" kern="0" dirty="0">
                <a:solidFill>
                  <a:schemeClr val="bg1"/>
                </a:solidFill>
                <a:ea typeface="Calibri"/>
                <a:cs typeface="Times New Roman" panose="02020603050405020304" pitchFamily="18" charset="0"/>
                <a:sym typeface="Calibri"/>
              </a:rPr>
              <a:t>01</a:t>
            </a:r>
            <a:endParaRPr lang="en-US" sz="3500" kern="0" dirty="0">
              <a:solidFill>
                <a:schemeClr val="bg1"/>
              </a:solidFill>
              <a:ea typeface="Calibri"/>
              <a:cs typeface="Times New Roman" panose="02020603050405020304" pitchFamily="18" charset="0"/>
              <a:sym typeface="Calibri"/>
            </a:endParaRPr>
          </a:p>
        </p:txBody>
      </p:sp>
      <p:sp>
        <p:nvSpPr>
          <p:cNvPr id="38" name="Shape 77">
            <a:extLst>
              <a:ext uri="{FF2B5EF4-FFF2-40B4-BE49-F238E27FC236}">
                <a16:creationId xmlns:a16="http://schemas.microsoft.com/office/drawing/2014/main" id="{56CAD5AB-02FD-8E45-81ED-FE36CFFE3B40}"/>
              </a:ext>
            </a:extLst>
          </p:cNvPr>
          <p:cNvSpPr>
            <a:spLocks/>
          </p:cNvSpPr>
          <p:nvPr/>
        </p:nvSpPr>
        <p:spPr>
          <a:xfrm flipH="1">
            <a:off x="1024378" y="3007592"/>
            <a:ext cx="854876" cy="5386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rgbClr val="000000"/>
              </a:buClr>
              <a:buSzPct val="25000"/>
            </a:pPr>
            <a:r>
              <a:rPr lang="en-US" sz="3500" b="1" kern="0" dirty="0">
                <a:solidFill>
                  <a:schemeClr val="bg1"/>
                </a:solidFill>
                <a:ea typeface="Calibri"/>
                <a:cs typeface="Times New Roman" panose="02020603050405020304" pitchFamily="18" charset="0"/>
                <a:sym typeface="Calibri"/>
              </a:rPr>
              <a:t>02</a:t>
            </a:r>
            <a:endParaRPr lang="en-US" sz="3500" kern="0" dirty="0">
              <a:solidFill>
                <a:schemeClr val="bg1"/>
              </a:solidFill>
              <a:ea typeface="Calibri"/>
              <a:cs typeface="Times New Roman" panose="02020603050405020304" pitchFamily="18" charset="0"/>
              <a:sym typeface="Calibri"/>
            </a:endParaRPr>
          </a:p>
        </p:txBody>
      </p:sp>
      <p:sp>
        <p:nvSpPr>
          <p:cNvPr id="39" name="Shape 77">
            <a:extLst>
              <a:ext uri="{FF2B5EF4-FFF2-40B4-BE49-F238E27FC236}">
                <a16:creationId xmlns:a16="http://schemas.microsoft.com/office/drawing/2014/main" id="{CC1469A4-407C-0B32-55F9-3E1767EB7F95}"/>
              </a:ext>
            </a:extLst>
          </p:cNvPr>
          <p:cNvSpPr>
            <a:spLocks/>
          </p:cNvSpPr>
          <p:nvPr/>
        </p:nvSpPr>
        <p:spPr>
          <a:xfrm flipH="1">
            <a:off x="1024378" y="3934459"/>
            <a:ext cx="854876" cy="5386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rgbClr val="000000"/>
              </a:buClr>
              <a:buSzPct val="25000"/>
            </a:pPr>
            <a:r>
              <a:rPr lang="en-US" sz="3500" b="1" kern="0" dirty="0">
                <a:solidFill>
                  <a:schemeClr val="bg1"/>
                </a:solidFill>
                <a:ea typeface="Calibri"/>
                <a:cs typeface="Times New Roman" panose="02020603050405020304" pitchFamily="18" charset="0"/>
                <a:sym typeface="Calibri"/>
              </a:rPr>
              <a:t>03</a:t>
            </a:r>
            <a:endParaRPr lang="en-US" sz="3500" kern="0" dirty="0">
              <a:solidFill>
                <a:schemeClr val="bg1"/>
              </a:solidFill>
              <a:ea typeface="Calibri"/>
              <a:cs typeface="Times New Roman" panose="02020603050405020304" pitchFamily="18" charset="0"/>
              <a:sym typeface="Calibri"/>
            </a:endParaRPr>
          </a:p>
        </p:txBody>
      </p:sp>
      <p:sp>
        <p:nvSpPr>
          <p:cNvPr id="40" name="Shape 77">
            <a:extLst>
              <a:ext uri="{FF2B5EF4-FFF2-40B4-BE49-F238E27FC236}">
                <a16:creationId xmlns:a16="http://schemas.microsoft.com/office/drawing/2014/main" id="{1BC1B66D-2E58-3D27-1BC9-99F30DCEC9B4}"/>
              </a:ext>
            </a:extLst>
          </p:cNvPr>
          <p:cNvSpPr>
            <a:spLocks/>
          </p:cNvSpPr>
          <p:nvPr/>
        </p:nvSpPr>
        <p:spPr>
          <a:xfrm flipH="1">
            <a:off x="1024378" y="4851391"/>
            <a:ext cx="854876" cy="5386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rgbClr val="000000"/>
              </a:buClr>
              <a:buSzPct val="25000"/>
            </a:pPr>
            <a:r>
              <a:rPr lang="en-US" sz="3500" b="1" kern="0" dirty="0">
                <a:solidFill>
                  <a:schemeClr val="bg1"/>
                </a:solidFill>
                <a:ea typeface="Calibri"/>
                <a:cs typeface="Times New Roman" panose="02020603050405020304" pitchFamily="18" charset="0"/>
                <a:sym typeface="Calibri"/>
              </a:rPr>
              <a:t>04</a:t>
            </a:r>
            <a:endParaRPr lang="en-US" sz="3500" kern="0" dirty="0">
              <a:solidFill>
                <a:schemeClr val="bg1"/>
              </a:solidFill>
              <a:ea typeface="Calibri"/>
              <a:cs typeface="Times New Roman" panose="02020603050405020304" pitchFamily="18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547258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6</TotalTime>
  <Words>22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Facto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68</cp:revision>
  <dcterms:created xsi:type="dcterms:W3CDTF">2021-03-31T02:49:57Z</dcterms:created>
  <dcterms:modified xsi:type="dcterms:W3CDTF">2025-10-16T11:41:27Z</dcterms:modified>
  <cp:category/>
</cp:coreProperties>
</file>